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14508" r:id="rId2"/>
    <p:sldId id="14563" r:id="rId3"/>
    <p:sldId id="14511" r:id="rId4"/>
    <p:sldId id="14512" r:id="rId5"/>
    <p:sldId id="14513" r:id="rId6"/>
    <p:sldId id="14514" r:id="rId7"/>
    <p:sldId id="14515" r:id="rId8"/>
    <p:sldId id="14516" r:id="rId9"/>
    <p:sldId id="14517" r:id="rId10"/>
    <p:sldId id="14521" r:id="rId11"/>
    <p:sldId id="14522" r:id="rId12"/>
    <p:sldId id="14518" r:id="rId13"/>
    <p:sldId id="14520" r:id="rId14"/>
  </p:sldIdLst>
  <p:sldSz cx="12192000" cy="6858000"/>
  <p:notesSz cx="6858000" cy="9144000"/>
  <p:defaultTextStyle>
    <a:defPPr>
      <a:defRPr lang="en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61704-1B3B-774D-B961-A33E490F5548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31B68-E196-7443-8EF1-58B674392ACF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467151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3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881751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2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831624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3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538887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 - Se queremos ser um time de ponta, não basta apenas contratar uma equipe de profissionais </a:t>
            </a:r>
            <a:r>
              <a:rPr lang="pt-BR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niors</a:t>
            </a:r>
            <a:r>
              <a:rPr lang="pt-BR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e achar que o time está pronto.</a:t>
            </a:r>
          </a:p>
          <a:p>
            <a:r>
              <a:rPr lang="pt-BR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 – Para o desenvolvedor o mercado está super aquecido e isso gera algumas anomalias: salários surreais e desenvolvedores saindo de empresas ao menor sinal de contrariedade</a:t>
            </a:r>
            <a:endParaRPr lang="en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4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64708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BR"/>
              <a:t>Irati </a:t>
            </a:r>
            <a:r>
              <a:rPr lang="pt-BR" sz="1800" b="0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ria um centro de treinamento presencial com cursos e professores, parceria com governo e universidade)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5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3405607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pt-BR" sz="1800" b="0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 objetivo do programa não deveria ser o</a:t>
            </a:r>
            <a:r>
              <a:rPr lang="pt-BR" sz="1800" b="0" i="0" u="sng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e formar 50 pessoas como sugerido inicialmente, pois isso já implicaria em já termos uma estrutura treinamento, mas sim criar um modelo de treinamento escalável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| </a:t>
            </a:r>
            <a:r>
              <a:rPr lang="pt-BR" sz="1800" b="1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tart </a:t>
            </a:r>
            <a:r>
              <a:rPr lang="pt-BR" sz="1800" b="1" i="1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mall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pt-BR" sz="1800" b="0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Em vez de nos preocuparmos com o resultado e números, primeiro nos preocupamos com o formato e essência da iniciativa, qual problema resolver primeiro e como)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pt-BR" sz="1800" b="0" i="0" u="sng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tudar o mercado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pt-BR" sz="1800" b="0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Se inspirar em cases ou em soluções similares em outras empresas de tecnologia, traçar um paralelo com nossas próprias experiências)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pt-BR" sz="1800" b="0" i="0" u="sng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ormatar um processo enxuto e coeso, testá-lo na prática e aprender como melhorá-lo antes de escalar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| </a:t>
            </a:r>
            <a:r>
              <a:rPr lang="pt-BR" sz="1800" b="1" i="1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earn</a:t>
            </a:r>
            <a:r>
              <a:rPr lang="pt-BR" sz="1800" b="1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fast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pt-BR" sz="1800" b="0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Pensar em uma estrutura em que possibilitasse um aprendizado contínuo e de reação rápida)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pt-BR" sz="1800" b="0" i="0" u="sng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tegrar o time de pessoas na parada. Descobrimos rapidamente que o </a:t>
            </a:r>
            <a:r>
              <a:rPr lang="pt-BR" sz="1800" b="0" i="0" u="sng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earn</a:t>
            </a:r>
            <a:r>
              <a:rPr lang="pt-BR" sz="1800" b="0" i="0" u="sng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fast não se trata apenas de aprender com seus erros, mas trazer para perto pessoas com experiência no assunto, mesmo que seja apenas uma consultoria. 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</a:t>
            </a:r>
            <a:r>
              <a:rPr lang="pt-BR" sz="1800" b="0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abrina! Ela trouxe referências e uma visão inicial de como os times de pessoas e RH lidam com esse tipo de iniciativa, vamos botar uma foto da cara dela num </a:t>
            </a:r>
            <a:r>
              <a:rPr lang="pt-BR" sz="1800" b="0" i="1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yoda</a:t>
            </a:r>
            <a:r>
              <a:rPr lang="pt-BR" sz="1800" b="0" i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pt-BR" sz="1800" b="0" i="1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kkkkk</a:t>
            </a:r>
            <a:r>
              <a:rPr lang="pt-BR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) </a:t>
            </a:r>
          </a:p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6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786492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BR" dirty="0"/>
              <a:t>Piloto, para testarmos se ele funciona em outro lugar além da nossa própria cabeça.</a:t>
            </a:r>
          </a:p>
          <a:p>
            <a:r>
              <a:rPr lang="en-BR" dirty="0"/>
              <a:t>Poucos participantes porque fica mais fácil de mudarmos a direção do projeto caso haja necessida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7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604674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8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6675479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9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659549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0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0834171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CAE67A-42C9-3443-B7E4-227BF73B9057}" type="slidenum">
              <a:rPr lang="en-BR" smtClean="0"/>
              <a:t>11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488166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7BC41-264A-37D9-DF8D-5458CB2C83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ADDD46-A516-17F7-FEA3-7F3A7D9BC1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4D34B8-9984-F8B4-8679-AADCAE998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FD4BDE-53A0-9C67-359E-3B63D1A9C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FBE918-368F-373F-6885-C69A48E48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237053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9EE5A-41B0-A662-E228-523387DA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FB9A5A-06C7-ADE1-C3D0-B20876C790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0ADAE6-85DF-B57A-9A29-FA9B5D6EAC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0A72D-8FC7-900E-B658-D65B045A5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A40822-CBF8-2506-008E-95905B3F7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932321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2DDED5-DC6C-5F22-E60A-4F0491FEA3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811EF6-D26B-A7D7-478B-51D7BCE1C9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EF8074-3147-C678-C78E-142376AA7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29A186-AAB8-9D84-9957-5C64A7F55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EBD551-845D-911F-36B5-4D64BAAF4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5204100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5389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FFEBD2-F2E5-4061-A1CF-BFC7BE015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876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FFEBD2-F2E5-4061-A1CF-BFC7BE015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43A82661-FECB-4D9B-9B45-10053C5866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119" y="6479635"/>
            <a:ext cx="10134497" cy="29952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000">
                <a:solidFill>
                  <a:schemeClr val="accent2"/>
                </a:solidFill>
              </a:defRPr>
            </a:lvl2pPr>
            <a:lvl3pPr marL="1143000" indent="-228600">
              <a:spcAft>
                <a:spcPts val="600"/>
              </a:spcAft>
              <a:buFont typeface="Arial" panose="020B0604020202020204" pitchFamily="34" charset="0"/>
              <a:buChar char="−"/>
              <a:defRPr sz="1000"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onte/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33F8E1-A0A1-40E6-B9F1-1B12C8AE0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5" y="172212"/>
            <a:ext cx="11612879" cy="731520"/>
          </a:xfrm>
        </p:spPr>
        <p:txBody>
          <a:bodyPr vert="horz">
            <a:normAutofit/>
          </a:bodyPr>
          <a:lstStyle>
            <a:lvl1pPr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0E730B3-8BBE-435F-B531-CBF2C23319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9411565" y="42665"/>
            <a:ext cx="2529159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>
              <a:buNone/>
              <a:defRPr lang="en-US" sz="800" dirty="0">
                <a:solidFill>
                  <a:schemeClr val="tx1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02AE938-173A-4771-9259-7AB04BBBE2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5119" y="1082103"/>
            <a:ext cx="11612879" cy="5290705"/>
          </a:xfrm>
          <a:prstGeom prst="rect">
            <a:avLst/>
          </a:prstGeom>
        </p:spPr>
        <p:txBody>
          <a:bodyPr/>
          <a:lstStyle>
            <a:lvl2pPr marL="685800" indent="-228600">
              <a:buFont typeface="Arial" panose="020B0604020202020204" pitchFamily="34" charset="0"/>
              <a:buChar char="−"/>
              <a:defRPr/>
            </a:lvl2pPr>
            <a:lvl3pPr marL="1314450" indent="-400050">
              <a:buFont typeface="Arial" panose="020B0604020202020204" pitchFamily="34" charset="0"/>
              <a:buChar char="−"/>
              <a:defRPr/>
            </a:lvl3pPr>
            <a:lvl4pPr marL="1771650" indent="-400050">
              <a:buFont typeface="Arial" panose="020B0604020202020204" pitchFamily="34" charset="0"/>
              <a:buChar char="−"/>
              <a:defRPr/>
            </a:lvl4pPr>
            <a:lvl5pPr marL="2228850" indent="-400050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0230663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FFEBD2-F2E5-4061-A1CF-BFC7BE015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13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FFEBD2-F2E5-4061-A1CF-BFC7BE015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43A82661-FECB-4D9B-9B45-10053C5866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119" y="6479635"/>
            <a:ext cx="10134497" cy="29952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000">
                <a:solidFill>
                  <a:schemeClr val="accent2"/>
                </a:solidFill>
              </a:defRPr>
            </a:lvl2pPr>
            <a:lvl3pPr marL="1143000" indent="-228600">
              <a:spcAft>
                <a:spcPts val="600"/>
              </a:spcAft>
              <a:buFont typeface="Arial" panose="020B0604020202020204" pitchFamily="34" charset="0"/>
              <a:buChar char="−"/>
              <a:defRPr sz="1000"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onte e/</a:t>
            </a:r>
            <a:r>
              <a:rPr lang="en-US" err="1"/>
              <a:t>ou</a:t>
            </a:r>
            <a:r>
              <a:rPr lang="en-US"/>
              <a:t>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33F8E1-A0A1-40E6-B9F1-1B12C8AE0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5" y="172212"/>
            <a:ext cx="11610153" cy="731520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0E730B3-8BBE-435F-B531-CBF2C23319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9411565" y="48820"/>
            <a:ext cx="2528565" cy="1108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>
              <a:buNone/>
              <a:defRPr lang="en-US" sz="800" dirty="0">
                <a:solidFill>
                  <a:schemeClr val="tx1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D7F1D-FE56-4F5B-BC76-A2ACEC34FFA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5119" y="1082103"/>
            <a:ext cx="11612879" cy="5290705"/>
          </a:xfrm>
          <a:prstGeom prst="rect">
            <a:avLst/>
          </a:prstGeom>
        </p:spPr>
        <p:txBody>
          <a:bodyPr lIns="0" tIns="0" rIns="0" bIns="0"/>
          <a:lstStyle>
            <a:lvl2pPr marL="685800" indent="-228600">
              <a:buFont typeface="Arial" panose="020B0604020202020204" pitchFamily="34" charset="0"/>
              <a:buChar char="−"/>
              <a:defRPr/>
            </a:lvl2pPr>
            <a:lvl3pPr marL="1314450" indent="-400050">
              <a:buFont typeface="Arial" panose="020B0604020202020204" pitchFamily="34" charset="0"/>
              <a:buChar char="−"/>
              <a:defRPr/>
            </a:lvl3pPr>
            <a:lvl4pPr marL="1771650" indent="-400050">
              <a:buFont typeface="Arial" panose="020B0604020202020204" pitchFamily="34" charset="0"/>
              <a:buChar char="−"/>
              <a:defRPr/>
            </a:lvl4pPr>
            <a:lvl5pPr marL="2228850" indent="-400050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3050723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79013B-D2A5-A981-FB10-E61DCBFFE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A8F39D-F024-1FB7-9769-0C4035E4B5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017EBC-B063-1F90-5971-9BE7D15B8C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1F194-3BD4-10C9-6B50-8DA66FA8E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9132A5-6AB0-F42F-FAC0-FADE5475D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3759105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43BCE-D2B1-8AA8-ED58-6C48CC391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01F859-296D-5C61-30EE-94AE70B076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623FC7-D6F7-B646-B767-88EFB5DB4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B0054B-B00C-BB82-0673-D79E0C48A6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8494BE-7BD8-DD45-D308-B1EF88B6E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805150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7EE2B-DC65-983B-B6F2-93FAC7E01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B20A55-EE92-0EE8-A08A-0CFB172647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6A54BB-51A4-795D-A333-D3B476998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0FA180-ACC9-9AE7-E759-C6D1A228B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FBB746-EFDD-B799-C501-5F9AA023A8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9B6E26-141B-686D-4CC4-5A0EEFD20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0494576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0130D-CCDF-AB46-C993-93D06B7DB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393E79-03F5-ED8A-A746-F00296EA7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08B358-A642-D464-3CF8-B9834CCBDD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203820-7C78-879D-7F32-252B2549D9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7E0DF2-5B41-9B27-BEFC-E10A1D6983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D18B27A-B122-EB1F-FDBC-5215F1E03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970E6B-D82B-E348-C1FC-156697AB8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E50A3D-4989-76F3-73F7-EFDC98D12E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802089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11030-85CC-893F-91E5-37EF11509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3EBF1F-67C7-08DA-3923-730251551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2E7294-1E93-70BC-D006-01758A9ED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99CAF-DC6E-F0CC-1358-3739A0D23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454198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A5155E-5B44-569E-253D-B805BDAB3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E0CE59-6268-7A81-21C5-BE62265FF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25EA30-D1BB-EBA7-8DFB-F260308DE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514316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8EADEE-561D-BE52-E6F5-63E8119DF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32B126-8D7E-A464-7780-3BEB0CB81D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E613AF-0C18-6D45-24B5-05074A5A94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C4C266-F73D-E0E2-7604-36A7A45F65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4CE2C0-2267-8DCE-588C-51E36524E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BB238F-0B5C-9A3C-89F5-6757E894E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835474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62F05E-2D45-5FC0-1A59-73239EADB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74BA5A-B8F3-C815-675F-9B306904DC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567F92-096F-881A-24B8-1F65DE9A90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A9AB3C-3A28-5E40-2DBC-2B7E1A78B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24E5D3-7801-2339-F364-AA45E9664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EDF1B8-D132-BFE5-2466-A11B817BB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7282093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B3C079-ECF6-0B81-6CDA-57A3656C9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574ABF-E089-B4F6-F139-2441183E13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E1DD0-9CBF-9F14-7889-CDE1C30313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6A3A8F-7D89-8647-A1DE-F7C653CC0CC4}" type="datetimeFigureOut">
              <a:rPr lang="en-BR" smtClean="0"/>
              <a:t>03/11/22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8F34AA-46E7-281F-E7F0-8E66EEE10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705A57-7082-A062-D4AA-3FE012968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068F94-3823-FC40-99ED-9D980CEC379A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720914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6.bin"/><Relationship Id="rId9" Type="http://schemas.openxmlformats.org/officeDocument/2006/relationships/hyperlink" Target="https://bit.ly/nstech-yoda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14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sv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11" Type="http://schemas.openxmlformats.org/officeDocument/2006/relationships/image" Target="../media/image12.svg"/><Relationship Id="rId5" Type="http://schemas.openxmlformats.org/officeDocument/2006/relationships/image" Target="../media/image4.svg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image" Target="../media/image3.png"/><Relationship Id="rId9" Type="http://schemas.openxmlformats.org/officeDocument/2006/relationships/image" Target="../media/image1.emf"/><Relationship Id="rId1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5FF71C7C-3B5D-CDF1-C70B-AE6A9D3B49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557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5" y="132425"/>
            <a:ext cx="7789057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Algumas coisas que aprendemo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DCCE12E-BE87-AE8B-EDB8-DA2F45D65920}"/>
              </a:ext>
            </a:extLst>
          </p:cNvPr>
          <p:cNvSpPr txBox="1">
            <a:spLocks/>
          </p:cNvSpPr>
          <p:nvPr/>
        </p:nvSpPr>
        <p:spPr>
          <a:xfrm>
            <a:off x="562786" y="1262572"/>
            <a:ext cx="8035470" cy="390979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De forma geral, o formato do programa funciona muito bem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Alguns </a:t>
            </a:r>
            <a:r>
              <a:rPr lang="pt-BR" sz="2000" dirty="0" err="1">
                <a:solidFill>
                  <a:srgbClr val="1E2023"/>
                </a:solidFill>
                <a:latin typeface="Barlow" panose="00000500000000000000" pitchFamily="2" charset="0"/>
              </a:rPr>
              <a:t>mentorados</a:t>
            </a: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 criaram seu próprio método</a:t>
            </a:r>
            <a:endParaRPr lang="pt-BR" sz="2000" b="0" i="0" dirty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Tempo pode ser um problema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Dificuldade do </a:t>
            </a:r>
            <a:r>
              <a:rPr lang="pt-BR" sz="2000" dirty="0" err="1">
                <a:solidFill>
                  <a:srgbClr val="1E2023"/>
                </a:solidFill>
                <a:latin typeface="Barlow" panose="00000500000000000000" pitchFamily="2" charset="0"/>
              </a:rPr>
              <a:t>mentorado</a:t>
            </a: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 aplicar o que estuda no dia-a-dia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Treinamento para mentor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69BACF1-0F90-126C-18AA-4A928937F325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14" name="Imagem 9">
              <a:extLst>
                <a:ext uri="{FF2B5EF4-FFF2-40B4-BE49-F238E27FC236}">
                  <a16:creationId xmlns:a16="http://schemas.microsoft.com/office/drawing/2014/main" id="{43658358-A7E7-DA47-CE32-D3134752A5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0C65AC-893B-5D73-6676-BADA31188953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20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DB3C06B3-A7BB-C147-1568-7C3C0F2C9BA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21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18E6F6B3-9515-3E5F-1CBE-6E68F68571F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22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56723E30-E9ED-C9D3-1D29-E52C04BB7BA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779CBF4-6807-C5AB-49B5-24CDA374ECAF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3259949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609EDC73-7DD7-6F29-2714-33ECB829C4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98674" y="405115"/>
            <a:ext cx="1430540" cy="6022426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1795148" y="560828"/>
            <a:ext cx="3383312" cy="45125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 err="1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Think</a:t>
            </a: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 Big</a:t>
            </a:r>
            <a:endParaRPr kumimoji="0" lang="pt-BR" sz="28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pic>
        <p:nvPicPr>
          <p:cNvPr id="16" name="Imagem 15" descr="Ícone&#10;&#10;Descrição gerada automaticamente">
            <a:extLst>
              <a:ext uri="{FF2B5EF4-FFF2-40B4-BE49-F238E27FC236}">
                <a16:creationId xmlns:a16="http://schemas.microsoft.com/office/drawing/2014/main" id="{93F6AACD-006F-B618-F8C6-FB94D86C4F1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564"/>
          <a:stretch/>
        </p:blipFill>
        <p:spPr>
          <a:xfrm>
            <a:off x="602302" y="698135"/>
            <a:ext cx="1026598" cy="1082577"/>
          </a:xfrm>
          <a:prstGeom prst="rect">
            <a:avLst/>
          </a:prstGeom>
        </p:spPr>
      </p:pic>
      <p:pic>
        <p:nvPicPr>
          <p:cNvPr id="17" name="Imagem 16" descr="Ícone&#10;&#10;Descrição gerada automaticamente">
            <a:extLst>
              <a:ext uri="{FF2B5EF4-FFF2-40B4-BE49-F238E27FC236}">
                <a16:creationId xmlns:a16="http://schemas.microsoft.com/office/drawing/2014/main" id="{E8DC59DF-76DF-71D9-E90E-EA39A43D4D9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30" r="35140"/>
          <a:stretch/>
        </p:blipFill>
        <p:spPr>
          <a:xfrm>
            <a:off x="450750" y="2813116"/>
            <a:ext cx="1319222" cy="1206423"/>
          </a:xfrm>
          <a:prstGeom prst="rect">
            <a:avLst/>
          </a:prstGeom>
        </p:spPr>
      </p:pic>
      <p:pic>
        <p:nvPicPr>
          <p:cNvPr id="18" name="Imagem 17" descr="Ícone&#10;&#10;Descrição gerada automaticamente">
            <a:extLst>
              <a:ext uri="{FF2B5EF4-FFF2-40B4-BE49-F238E27FC236}">
                <a16:creationId xmlns:a16="http://schemas.microsoft.com/office/drawing/2014/main" id="{B0FA3349-FF5B-DDF9-B16F-E1B57A37B63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58"/>
          <a:stretch/>
        </p:blipFill>
        <p:spPr>
          <a:xfrm>
            <a:off x="591822" y="5149686"/>
            <a:ext cx="1037078" cy="1147485"/>
          </a:xfrm>
          <a:prstGeom prst="rect">
            <a:avLst/>
          </a:prstGeom>
        </p:spPr>
      </p:pic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FF7248D8-FE29-EF26-054D-20DA8F86D930}"/>
              </a:ext>
            </a:extLst>
          </p:cNvPr>
          <p:cNvSpPr txBox="1">
            <a:spLocks/>
          </p:cNvSpPr>
          <p:nvPr/>
        </p:nvSpPr>
        <p:spPr>
          <a:xfrm>
            <a:off x="1801069" y="1109837"/>
            <a:ext cx="8035470" cy="120642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 b="0" i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Programa de treinamento para todas as 24 empresas do grupo</a:t>
            </a:r>
            <a:endParaRPr lang="pt-BR" sz="2400" b="0" i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1F54610-9C14-F481-2DD0-7E699C900ED0}"/>
              </a:ext>
            </a:extLst>
          </p:cNvPr>
          <p:cNvSpPr txBox="1">
            <a:spLocks/>
          </p:cNvSpPr>
          <p:nvPr/>
        </p:nvSpPr>
        <p:spPr>
          <a:xfrm>
            <a:off x="1795148" y="2786311"/>
            <a:ext cx="3383312" cy="45125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>
                <a:solidFill>
                  <a:srgbClr val="E7441F"/>
                </a:solidFill>
                <a:latin typeface="Barlow SemiBold" panose="00000700000000000000" pitchFamily="2" charset="0"/>
              </a:rPr>
              <a:t>Start </a:t>
            </a:r>
            <a:r>
              <a:rPr lang="pt-BR" sz="2800" err="1">
                <a:solidFill>
                  <a:srgbClr val="E7441F"/>
                </a:solidFill>
                <a:latin typeface="Barlow SemiBold" panose="00000700000000000000" pitchFamily="2" charset="0"/>
              </a:rPr>
              <a:t>Small</a:t>
            </a:r>
            <a:endParaRPr kumimoji="0" lang="pt-BR" sz="28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90E94-8D8C-F80D-8D7B-FEAF2CCAE1D2}"/>
              </a:ext>
            </a:extLst>
          </p:cNvPr>
          <p:cNvSpPr txBox="1">
            <a:spLocks/>
          </p:cNvSpPr>
          <p:nvPr/>
        </p:nvSpPr>
        <p:spPr>
          <a:xfrm>
            <a:off x="1801069" y="3335320"/>
            <a:ext cx="8035470" cy="120642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>
                <a:solidFill>
                  <a:srgbClr val="1E2023"/>
                </a:solidFill>
                <a:latin typeface="Barlow" panose="00000500000000000000" pitchFamily="2" charset="0"/>
              </a:rPr>
              <a:t>Iniciar com um </a:t>
            </a:r>
            <a:r>
              <a:rPr lang="pt-BR" sz="2000" b="0" i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piloto do programa com poucos participantes</a:t>
            </a:r>
            <a:endParaRPr lang="pt-BR" sz="2400" b="0" i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84EA9744-1021-F302-5966-A027F84A0374}"/>
              </a:ext>
            </a:extLst>
          </p:cNvPr>
          <p:cNvSpPr txBox="1">
            <a:spLocks/>
          </p:cNvSpPr>
          <p:nvPr/>
        </p:nvSpPr>
        <p:spPr>
          <a:xfrm>
            <a:off x="1769972" y="5066562"/>
            <a:ext cx="3383312" cy="45125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err="1">
                <a:solidFill>
                  <a:srgbClr val="E7441F"/>
                </a:solidFill>
                <a:latin typeface="Barlow SemiBold" panose="00000700000000000000" pitchFamily="2" charset="0"/>
              </a:rPr>
              <a:t>Learn</a:t>
            </a:r>
            <a:r>
              <a:rPr lang="pt-BR" sz="2800">
                <a:solidFill>
                  <a:srgbClr val="E7441F"/>
                </a:solidFill>
                <a:latin typeface="Barlow SemiBold" panose="00000700000000000000" pitchFamily="2" charset="0"/>
              </a:rPr>
              <a:t> Fast</a:t>
            </a:r>
            <a:endParaRPr kumimoji="0" lang="pt-BR" sz="28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7FEC75A-C3CD-1F35-E434-4BFE3EB5D968}"/>
              </a:ext>
            </a:extLst>
          </p:cNvPr>
          <p:cNvSpPr txBox="1">
            <a:spLocks/>
          </p:cNvSpPr>
          <p:nvPr/>
        </p:nvSpPr>
        <p:spPr>
          <a:xfrm>
            <a:off x="1775893" y="5615571"/>
            <a:ext cx="8035470" cy="120642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>
                <a:solidFill>
                  <a:srgbClr val="1E2023"/>
                </a:solidFill>
                <a:latin typeface="Barlow" panose="00000500000000000000" pitchFamily="2" charset="0"/>
              </a:rPr>
              <a:t>Reuniões de feedbacks com todos os envolvidos e zero medo de mudar</a:t>
            </a:r>
            <a:endParaRPr lang="pt-BR" sz="2400" b="0" i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2507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5364730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róximos passo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D66B082-0A37-BF67-7F01-BBC305593CB0}"/>
              </a:ext>
            </a:extLst>
          </p:cNvPr>
          <p:cNvSpPr txBox="1">
            <a:spLocks/>
          </p:cNvSpPr>
          <p:nvPr/>
        </p:nvSpPr>
        <p:spPr>
          <a:xfrm>
            <a:off x="562786" y="1262573"/>
            <a:ext cx="8035470" cy="314317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Análise constante dos feedbacks e opiniões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>
                <a:solidFill>
                  <a:srgbClr val="1E2023"/>
                </a:solidFill>
                <a:latin typeface="Barlow" panose="00000500000000000000" pitchFamily="2" charset="0"/>
              </a:rPr>
              <a:t>Melhorias gerais no </a:t>
            </a: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programa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Fase 2 do piloto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Escalar para todas as empresas do ecossistema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endParaRPr lang="pt-BR" sz="2000" dirty="0">
              <a:solidFill>
                <a:srgbClr val="1E2023"/>
              </a:solidFill>
              <a:latin typeface="Barlow" panose="00000500000000000000" pitchFamily="2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1354496-B105-4232-AFE7-5BC8F431FE9B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9" name="Imagem 9">
              <a:extLst>
                <a:ext uri="{FF2B5EF4-FFF2-40B4-BE49-F238E27FC236}">
                  <a16:creationId xmlns:a16="http://schemas.microsoft.com/office/drawing/2014/main" id="{15F4E9E6-D5AE-13DE-D3BA-4F78BAB5A3B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B856AEC-1B4E-F522-4C7B-9B2E79961EBF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13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AC6125BF-0C8A-89C9-D9CA-EE085AA24D5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14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F7A41619-17A7-A9CC-BADF-F39C32A0F8B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5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CBD2D867-E78F-8C81-869C-EEB5B345273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67A30C2-7172-5869-EA62-D5E2BA289D98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1918814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5364730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róximos passo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6E5DF50-EA94-6AFA-1989-50ED0908A2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18967" y="1713345"/>
            <a:ext cx="5144655" cy="51446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B23E95D-9C91-BC2B-C4B8-E473DF8717A9}"/>
              </a:ext>
            </a:extLst>
          </p:cNvPr>
          <p:cNvSpPr txBox="1"/>
          <p:nvPr/>
        </p:nvSpPr>
        <p:spPr>
          <a:xfrm>
            <a:off x="3189611" y="1179808"/>
            <a:ext cx="486056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b="0" i="0" u="sng">
                <a:effectLst/>
                <a:latin typeface="-apple-system"/>
                <a:hlinkClick r:id="rId9" tooltip="https://bit.ly/nstech-yoda"/>
              </a:rPr>
              <a:t>bit.ly/nstech-yoda</a:t>
            </a:r>
            <a:endParaRPr lang="en-BR" sz="4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398FF33-56E7-8E7D-90A9-674A01594B67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11" name="Imagem 9">
              <a:extLst>
                <a:ext uri="{FF2B5EF4-FFF2-40B4-BE49-F238E27FC236}">
                  <a16:creationId xmlns:a16="http://schemas.microsoft.com/office/drawing/2014/main" id="{3AE16C25-63B0-9F97-B949-E2E608D63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2076808-3C9E-DFB1-9682-DB5BADC29346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14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33D8463F-DFDA-5240-11C4-D2890D144C7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15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897493CE-0D86-F95B-70E6-9414B8CC58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9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2D43AF44-ACFD-81D5-3D51-DCD948AB6BD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005DF9B-1E38-4A4D-3B21-04468647BB6E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2178812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: Cantos Arredondados 1">
            <a:extLst>
              <a:ext uri="{FF2B5EF4-FFF2-40B4-BE49-F238E27FC236}">
                <a16:creationId xmlns:a16="http://schemas.microsoft.com/office/drawing/2014/main" id="{845EF484-D81B-9027-3514-63AEC6D5E86F}"/>
              </a:ext>
            </a:extLst>
          </p:cNvPr>
          <p:cNvSpPr/>
          <p:nvPr/>
        </p:nvSpPr>
        <p:spPr>
          <a:xfrm>
            <a:off x="-12356" y="-12357"/>
            <a:ext cx="12215242" cy="688433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E7441F"/>
              </a:gs>
              <a:gs pos="26000">
                <a:srgbClr val="E73D2E"/>
              </a:gs>
              <a:gs pos="100000">
                <a:srgbClr val="E6216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pt-BR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720F244-E558-451C-8E40-81BFC9804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720F244-E558-451C-8E40-81BFC9804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ítulo 1">
            <a:extLst>
              <a:ext uri="{FF2B5EF4-FFF2-40B4-BE49-F238E27FC236}">
                <a16:creationId xmlns:a16="http://schemas.microsoft.com/office/drawing/2014/main" id="{F969902A-4CD5-4D71-9CB3-8D2F6F1FCCC5}"/>
              </a:ext>
            </a:extLst>
          </p:cNvPr>
          <p:cNvSpPr txBox="1">
            <a:spLocks/>
          </p:cNvSpPr>
          <p:nvPr/>
        </p:nvSpPr>
        <p:spPr>
          <a:xfrm>
            <a:off x="195943" y="78620"/>
            <a:ext cx="11782697" cy="9934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242BC2B1-9D79-2289-052D-D56F75C9A1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0" y="4039121"/>
            <a:ext cx="1235065" cy="2939143"/>
          </a:xfrm>
          <a:prstGeom prst="rect">
            <a:avLst/>
          </a:prstGeom>
        </p:spPr>
      </p:pic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25E2B293-2787-AF0B-E0F0-4877AFC0273A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áfico 2">
            <a:extLst>
              <a:ext uri="{FF2B5EF4-FFF2-40B4-BE49-F238E27FC236}">
                <a16:creationId xmlns:a16="http://schemas.microsoft.com/office/drawing/2014/main" id="{9F6CCB3F-1842-DA17-73C6-1BFB438D34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81EED22-5A1F-3E28-740A-5D797C9B02CB}"/>
              </a:ext>
            </a:extLst>
          </p:cNvPr>
          <p:cNvSpPr txBox="1">
            <a:spLocks/>
          </p:cNvSpPr>
          <p:nvPr/>
        </p:nvSpPr>
        <p:spPr>
          <a:xfrm>
            <a:off x="1542180" y="3474217"/>
            <a:ext cx="5800729" cy="86305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Anderson Nobre – Tech manager </a:t>
            </a:r>
            <a:r>
              <a:rPr lang="pt-BR" sz="2000" b="0" i="0" err="1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nstech</a:t>
            </a:r>
            <a:br>
              <a:rPr lang="pt-BR" sz="2000">
                <a:solidFill>
                  <a:schemeClr val="bg1"/>
                </a:solidFill>
                <a:latin typeface="Barlow" panose="00000500000000000000" pitchFamily="2" charset="0"/>
              </a:rPr>
            </a:br>
            <a:r>
              <a:rPr lang="pt-BR" sz="2000" b="0" i="0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Filipe Cunha – Tech manager </a:t>
            </a:r>
            <a:r>
              <a:rPr lang="pt-BR" sz="2000" b="0" i="0" err="1">
                <a:solidFill>
                  <a:schemeClr val="bg1"/>
                </a:solidFill>
                <a:effectLst/>
                <a:latin typeface="Barlow" panose="00000500000000000000" pitchFamily="2" charset="0"/>
              </a:rPr>
              <a:t>nstech</a:t>
            </a:r>
            <a:endParaRPr lang="pt-BR" sz="2400" b="0" i="0">
              <a:solidFill>
                <a:schemeClr val="bg1"/>
              </a:solidFill>
              <a:effectLst/>
              <a:latin typeface="Barlow" panose="00000500000000000000" pitchFamily="2" charset="0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2DBE5F0C-0562-F684-81B7-BE70727F5025}"/>
              </a:ext>
            </a:extLst>
          </p:cNvPr>
          <p:cNvSpPr txBox="1">
            <a:spLocks/>
          </p:cNvSpPr>
          <p:nvPr/>
        </p:nvSpPr>
        <p:spPr>
          <a:xfrm>
            <a:off x="1608230" y="2341649"/>
            <a:ext cx="8663410" cy="1096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 SemiBold" panose="00000700000000000000" pitchFamily="2" charset="0"/>
              </a:rPr>
              <a:t>Projeto Yoda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600">
                <a:solidFill>
                  <a:prstClr val="white"/>
                </a:solidFill>
                <a:latin typeface="Barlow SemiBold" panose="00000700000000000000" pitchFamily="2" charset="0"/>
              </a:rPr>
              <a:t>Plano de desenvolvimento dos </a:t>
            </a:r>
            <a:r>
              <a:rPr lang="pt-BR" sz="3600" err="1">
                <a:solidFill>
                  <a:prstClr val="white"/>
                </a:solidFill>
                <a:latin typeface="Barlow SemiBold" panose="00000700000000000000" pitchFamily="2" charset="0"/>
              </a:rPr>
              <a:t>padawan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4586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73BF2EC-432B-AA1D-0FFF-A426D4276E71}"/>
              </a:ext>
            </a:extLst>
          </p:cNvPr>
          <p:cNvSpPr txBox="1">
            <a:spLocks/>
          </p:cNvSpPr>
          <p:nvPr/>
        </p:nvSpPr>
        <p:spPr>
          <a:xfrm>
            <a:off x="562786" y="1262573"/>
            <a:ext cx="9288580" cy="220822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Um programa de desenvolvimento </a:t>
            </a: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profissional </a:t>
            </a: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para todos do nosso ecossistema.</a:t>
            </a:r>
            <a:endParaRPr lang="pt-BR" sz="2400" b="0" i="0" dirty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3496956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O que é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52BF0E-538F-527E-9000-20F603445D26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6" name="Imagem 9">
              <a:extLst>
                <a:ext uri="{FF2B5EF4-FFF2-40B4-BE49-F238E27FC236}">
                  <a16:creationId xmlns:a16="http://schemas.microsoft.com/office/drawing/2014/main" id="{B16CF807-D6CC-A462-512A-921C616AD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67EC594-C05F-3346-99E0-4882FB8C4FDC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12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933EF520-070A-5F48-07E8-749000D3E73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19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CCE91117-8626-6C2D-6A87-A1B62194C7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20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975D7EC6-3B85-ACF7-4E2A-CF799A7308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9C5FB5E-2504-0452-4EAE-E545BC0B9B1A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465592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73BF2EC-432B-AA1D-0FFF-A426D4276E71}"/>
              </a:ext>
            </a:extLst>
          </p:cNvPr>
          <p:cNvSpPr txBox="1">
            <a:spLocks/>
          </p:cNvSpPr>
          <p:nvPr/>
        </p:nvSpPr>
        <p:spPr>
          <a:xfrm>
            <a:off x="562786" y="1262573"/>
            <a:ext cx="8035470" cy="1063184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Preocupação com desenvolvimento dos profissionais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Dificuldade de encontrar bons profissionais </a:t>
            </a:r>
            <a:r>
              <a:rPr lang="pt-BR" sz="2000" dirty="0" err="1">
                <a:solidFill>
                  <a:srgbClr val="1E2023"/>
                </a:solidFill>
                <a:latin typeface="Barlow" panose="00000500000000000000" pitchFamily="2" charset="0"/>
              </a:rPr>
              <a:t>seniors</a:t>
            </a: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 no mercado</a:t>
            </a:r>
            <a:endParaRPr lang="pt-BR" sz="2400" b="0" i="0" dirty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5364730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orque ele surgiu?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AADD3FA-9370-8ADD-890E-8160AC32101B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6" name="Imagem 9">
              <a:extLst>
                <a:ext uri="{FF2B5EF4-FFF2-40B4-BE49-F238E27FC236}">
                  <a16:creationId xmlns:a16="http://schemas.microsoft.com/office/drawing/2014/main" id="{7CEC3A5B-FD2F-7332-6F3B-050FB933AD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660A08F-A940-022A-BF0C-32031462E383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12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5F31784D-8A5B-A412-A0BD-1167570580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13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E86FE5DA-2B8D-D780-1D32-CE6A7364F9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4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F9ABF192-49EA-5F12-5DBE-036467B4AFB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2C0B4-4E28-6D70-5299-E3CA442ADF4A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729027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73BF2EC-432B-AA1D-0FFF-A426D4276E71}"/>
              </a:ext>
            </a:extLst>
          </p:cNvPr>
          <p:cNvSpPr txBox="1">
            <a:spLocks/>
          </p:cNvSpPr>
          <p:nvPr/>
        </p:nvSpPr>
        <p:spPr>
          <a:xfrm>
            <a:off x="562786" y="1768249"/>
            <a:ext cx="8035470" cy="3055454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400" b="0" i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Formar 50 pessoas em 2022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400">
                <a:solidFill>
                  <a:srgbClr val="1E2023"/>
                </a:solidFill>
                <a:latin typeface="Barlow" panose="00000500000000000000" pitchFamily="2" charset="0"/>
              </a:rPr>
              <a:t>Centro de excelência para formação de pessoas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400">
                <a:solidFill>
                  <a:srgbClr val="1E2023"/>
                </a:solidFill>
                <a:latin typeface="Barlow" panose="00000500000000000000" pitchFamily="2" charset="0"/>
              </a:rPr>
              <a:t>P</a:t>
            </a:r>
            <a:r>
              <a:rPr lang="pt-BR" sz="2400" b="0" i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lataformas de estudos</a:t>
            </a: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5364730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rimeiros passo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6F31560-9E60-9A6C-3624-C69ECAE32D68}"/>
              </a:ext>
            </a:extLst>
          </p:cNvPr>
          <p:cNvSpPr txBox="1">
            <a:spLocks/>
          </p:cNvSpPr>
          <p:nvPr/>
        </p:nvSpPr>
        <p:spPr>
          <a:xfrm>
            <a:off x="562786" y="1022427"/>
            <a:ext cx="8035470" cy="41844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Sugestão inicial da gestão</a:t>
            </a:r>
            <a:endParaRPr lang="pt-BR" sz="2400" b="0" i="0" dirty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7C193F-9D30-E507-0CE2-E54B1E193AC3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9" name="Imagem 9">
              <a:extLst>
                <a:ext uri="{FF2B5EF4-FFF2-40B4-BE49-F238E27FC236}">
                  <a16:creationId xmlns:a16="http://schemas.microsoft.com/office/drawing/2014/main" id="{91A19A6A-0D17-0AC4-ED27-C348DEF2FE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D2D738-6923-4FFE-6284-9B5A73900738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13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27A95E00-0B49-8080-3993-C478A14B71A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14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C977C1B3-1867-2BA6-A1BD-28D71AB7C3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5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14D67D42-0134-C9F3-77C3-95CCD6AEA4D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CA98629-5EC8-0E53-6AA4-0D0498B8D724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28649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73BF2EC-432B-AA1D-0FFF-A426D4276E71}"/>
              </a:ext>
            </a:extLst>
          </p:cNvPr>
          <p:cNvSpPr txBox="1">
            <a:spLocks/>
          </p:cNvSpPr>
          <p:nvPr/>
        </p:nvSpPr>
        <p:spPr>
          <a:xfrm>
            <a:off x="562786" y="1768249"/>
            <a:ext cx="8035470" cy="39490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400">
                <a:solidFill>
                  <a:srgbClr val="1E2023"/>
                </a:solidFill>
                <a:latin typeface="Barlow"/>
                <a:cs typeface="Arial"/>
              </a:rPr>
              <a:t>Estudar o que o mercado tem feito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400" b="0" i="0">
                <a:solidFill>
                  <a:srgbClr val="1E2023"/>
                </a:solidFill>
                <a:effectLst/>
                <a:latin typeface="Barlow"/>
                <a:cs typeface="Arial"/>
              </a:rPr>
              <a:t>Criar o programa de treinamento</a:t>
            </a:r>
            <a:endParaRPr lang="pt-BR" sz="2400">
              <a:solidFill>
                <a:srgbClr val="1E2023"/>
              </a:solidFill>
              <a:latin typeface="Barlow"/>
              <a:cs typeface="Arial"/>
            </a:endParaRP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400">
                <a:solidFill>
                  <a:srgbClr val="1E2023"/>
                </a:solidFill>
                <a:latin typeface="Barlow"/>
                <a:cs typeface="Arial"/>
              </a:rPr>
              <a:t>Testá-lo em um ambiente pequeno e controlado</a:t>
            </a: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5364730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Primeiros passos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46F31560-9E60-9A6C-3624-C69ECAE32D68}"/>
              </a:ext>
            </a:extLst>
          </p:cNvPr>
          <p:cNvSpPr txBox="1">
            <a:spLocks/>
          </p:cNvSpPr>
          <p:nvPr/>
        </p:nvSpPr>
        <p:spPr>
          <a:xfrm>
            <a:off x="562786" y="1022427"/>
            <a:ext cx="8035470" cy="41844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 fontAlgn="base">
              <a:lnSpc>
                <a:spcPct val="110000"/>
              </a:lnSpc>
              <a:spcBef>
                <a:spcPts val="1800"/>
              </a:spcBef>
              <a:buNone/>
            </a:pPr>
            <a:r>
              <a:rPr lang="pt-BR" sz="2000" b="0" i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Após planejamento, análise e síntese</a:t>
            </a:r>
            <a:endParaRPr lang="pt-BR" sz="2400" b="0" i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7310A06-67C8-F388-AEA9-ABF8B4F2CFA8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6" name="Imagem 9">
              <a:extLst>
                <a:ext uri="{FF2B5EF4-FFF2-40B4-BE49-F238E27FC236}">
                  <a16:creationId xmlns:a16="http://schemas.microsoft.com/office/drawing/2014/main" id="{BDF1142E-CD04-ADD3-763E-CE5EF9953E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D5498A5-BB08-3BAE-CF49-F8EA18EC8C58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12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7FD9966A-8CFA-72D9-2508-936D802DA6D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13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555A4175-B78F-93CC-298C-C031384E42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4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5491658F-8648-1C09-39EF-827255E6B19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7F32FF5-73D2-4A39-7B84-76EAF8C697ED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3614984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5364730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Formato proposto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D66B082-0A37-BF67-7F01-BBC305593CB0}"/>
              </a:ext>
            </a:extLst>
          </p:cNvPr>
          <p:cNvSpPr txBox="1">
            <a:spLocks/>
          </p:cNvSpPr>
          <p:nvPr/>
        </p:nvSpPr>
        <p:spPr>
          <a:xfrm>
            <a:off x="562786" y="1262572"/>
            <a:ext cx="8035470" cy="39190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Modelo de mentoria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Modelo com 3 personas: Mentor, </a:t>
            </a:r>
            <a:r>
              <a:rPr lang="pt-BR" sz="2000" dirty="0" err="1">
                <a:solidFill>
                  <a:srgbClr val="1E2023"/>
                </a:solidFill>
                <a:latin typeface="Barlow" panose="00000500000000000000" pitchFamily="2" charset="0"/>
              </a:rPr>
              <a:t>mentorado</a:t>
            </a: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 e avaliador</a:t>
            </a:r>
            <a:endParaRPr lang="pt-BR" sz="2000" b="0" i="0" dirty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Teste do modelo em um piloto do programa com poucos participantes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Poucas áreas inicialmente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endParaRPr lang="pt-BR" sz="2000" dirty="0">
              <a:solidFill>
                <a:srgbClr val="1E2023"/>
              </a:solidFill>
              <a:latin typeface="Barlow" panose="00000500000000000000" pitchFamily="2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E7AA09C-EE9F-DE67-5E92-5F7A83CC0C50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15" name="Imagem 9">
              <a:extLst>
                <a:ext uri="{FF2B5EF4-FFF2-40B4-BE49-F238E27FC236}">
                  <a16:creationId xmlns:a16="http://schemas.microsoft.com/office/drawing/2014/main" id="{230986C0-A70D-96A2-9D7D-310A4CF6626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F49DCA9-DA51-01E4-769B-2D80E084530B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21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CD5CF9ED-43D7-6385-871F-0484C139FBE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22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21671770-1BFD-C15C-6F87-2619AB8CF6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23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D8178F33-96BA-D902-00DD-0C9F184830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365388F-D26D-C917-7151-3EC40D0D9855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4257563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tângulo: Cantos Arredondados 1">
            <a:extLst>
              <a:ext uri="{FF2B5EF4-FFF2-40B4-BE49-F238E27FC236}">
                <a16:creationId xmlns:a16="http://schemas.microsoft.com/office/drawing/2014/main" id="{51B08944-134B-FD7D-5331-170C5FCB1347}"/>
              </a:ext>
            </a:extLst>
          </p:cNvPr>
          <p:cNvSpPr/>
          <p:nvPr/>
        </p:nvSpPr>
        <p:spPr>
          <a:xfrm>
            <a:off x="-11621" y="-9236"/>
            <a:ext cx="12215242" cy="6884335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E7441F"/>
              </a:gs>
              <a:gs pos="26000">
                <a:srgbClr val="E73D2E"/>
              </a:gs>
              <a:gs pos="100000">
                <a:srgbClr val="E6216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pt-BR">
              <a:solidFill>
                <a:schemeClr val="tx1"/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16E40EB-0059-8732-A579-83589A3736D7}"/>
              </a:ext>
            </a:extLst>
          </p:cNvPr>
          <p:cNvGrpSpPr/>
          <p:nvPr/>
        </p:nvGrpSpPr>
        <p:grpSpPr>
          <a:xfrm>
            <a:off x="5672902" y="1863895"/>
            <a:ext cx="4614318" cy="3602710"/>
            <a:chOff x="5672902" y="1863895"/>
            <a:chExt cx="4614318" cy="3602710"/>
          </a:xfrm>
        </p:grpSpPr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0E6B1642-F50B-7481-0E69-29B8540E61D1}"/>
                </a:ext>
              </a:extLst>
            </p:cNvPr>
            <p:cNvSpPr/>
            <p:nvPr/>
          </p:nvSpPr>
          <p:spPr>
            <a:xfrm>
              <a:off x="5672902" y="2312387"/>
              <a:ext cx="4614318" cy="315421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B1CE337-C085-AC79-37D3-CA56AD8132BE}"/>
                </a:ext>
              </a:extLst>
            </p:cNvPr>
            <p:cNvSpPr txBox="1"/>
            <p:nvPr/>
          </p:nvSpPr>
          <p:spPr>
            <a:xfrm>
              <a:off x="7086281" y="1863895"/>
              <a:ext cx="170610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</a:rPr>
                <a:t>ferramentas</a:t>
              </a:r>
              <a:endParaRPr lang="en-BR" sz="2400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B9A35E8-536C-5874-F14C-B44338C5EDBF}"/>
              </a:ext>
            </a:extLst>
          </p:cNvPr>
          <p:cNvGrpSpPr/>
          <p:nvPr/>
        </p:nvGrpSpPr>
        <p:grpSpPr>
          <a:xfrm>
            <a:off x="2014456" y="1869663"/>
            <a:ext cx="2777021" cy="3596942"/>
            <a:chOff x="2014456" y="1869663"/>
            <a:chExt cx="2777021" cy="3596942"/>
          </a:xfrm>
        </p:grpSpPr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1D49F325-7A43-1146-19B9-7AB52E2ADC1A}"/>
                </a:ext>
              </a:extLst>
            </p:cNvPr>
            <p:cNvSpPr/>
            <p:nvPr/>
          </p:nvSpPr>
          <p:spPr>
            <a:xfrm>
              <a:off x="2014456" y="2312387"/>
              <a:ext cx="2777021" cy="315421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4DFE192-3D15-C3B3-5A74-F6568CF84C40}"/>
                </a:ext>
              </a:extLst>
            </p:cNvPr>
            <p:cNvSpPr txBox="1"/>
            <p:nvPr/>
          </p:nvSpPr>
          <p:spPr>
            <a:xfrm>
              <a:off x="2485995" y="1869663"/>
              <a:ext cx="181671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err="1">
                  <a:solidFill>
                    <a:schemeClr val="bg1"/>
                  </a:solidFill>
                </a:rPr>
                <a:t>participantes</a:t>
              </a:r>
              <a:endParaRPr lang="en-BR" sz="2400">
                <a:solidFill>
                  <a:schemeClr val="bg1"/>
                </a:solidFill>
              </a:endParaRPr>
            </a:p>
          </p:txBody>
        </p:sp>
      </p:grpSp>
      <p:pic>
        <p:nvPicPr>
          <p:cNvPr id="46" name="Gráfico 20">
            <a:extLst>
              <a:ext uri="{FF2B5EF4-FFF2-40B4-BE49-F238E27FC236}">
                <a16:creationId xmlns:a16="http://schemas.microsoft.com/office/drawing/2014/main" id="{B8A67F1C-693C-D2B8-196C-DE5A8F820D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0" y="4039121"/>
            <a:ext cx="1235065" cy="2939143"/>
          </a:xfrm>
          <a:prstGeom prst="rect">
            <a:avLst/>
          </a:prstGeom>
        </p:spPr>
      </p:pic>
      <p:cxnSp>
        <p:nvCxnSpPr>
          <p:cNvPr id="47" name="Conector reto 35">
            <a:extLst>
              <a:ext uri="{FF2B5EF4-FFF2-40B4-BE49-F238E27FC236}">
                <a16:creationId xmlns:a16="http://schemas.microsoft.com/office/drawing/2014/main" id="{2EA76DE9-A3EA-AA0E-4FE2-70E77FD5CD79}"/>
              </a:ext>
            </a:extLst>
          </p:cNvPr>
          <p:cNvCxnSpPr/>
          <p:nvPr/>
        </p:nvCxnSpPr>
        <p:spPr>
          <a:xfrm>
            <a:off x="11919857" y="-169332"/>
            <a:ext cx="0" cy="49670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Gráfico 2">
            <a:extLst>
              <a:ext uri="{FF2B5EF4-FFF2-40B4-BE49-F238E27FC236}">
                <a16:creationId xmlns:a16="http://schemas.microsoft.com/office/drawing/2014/main" id="{4E5F8FF3-F6BE-A33C-6A03-EBD1408E20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11371738" y="968417"/>
            <a:ext cx="1089038" cy="174525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5364730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 SemiBold" panose="00000700000000000000" pitchFamily="2" charset="0"/>
              </a:rPr>
              <a:t>Formato proposto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CB784F9-26EB-3FB2-C794-464513341D30}"/>
              </a:ext>
            </a:extLst>
          </p:cNvPr>
          <p:cNvGrpSpPr/>
          <p:nvPr/>
        </p:nvGrpSpPr>
        <p:grpSpPr>
          <a:xfrm>
            <a:off x="2777662" y="2681858"/>
            <a:ext cx="1243161" cy="1099066"/>
            <a:chOff x="1601581" y="1814267"/>
            <a:chExt cx="1243161" cy="1099066"/>
          </a:xfrm>
        </p:grpSpPr>
        <p:pic>
          <p:nvPicPr>
            <p:cNvPr id="2" name="Graphic 1" descr="User with solid fill">
              <a:extLst>
                <a:ext uri="{FF2B5EF4-FFF2-40B4-BE49-F238E27FC236}">
                  <a16:creationId xmlns:a16="http://schemas.microsoft.com/office/drawing/2014/main" id="{6DB5168B-1B21-33E5-44E2-C83680ACE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765962" y="1814267"/>
              <a:ext cx="914400" cy="914400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6C240C7-57AB-98C7-26B9-1471F63BA2B8}"/>
                </a:ext>
              </a:extLst>
            </p:cNvPr>
            <p:cNvSpPr txBox="1"/>
            <p:nvPr/>
          </p:nvSpPr>
          <p:spPr>
            <a:xfrm>
              <a:off x="1601581" y="2544001"/>
              <a:ext cx="124316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/>
                <a:t>m</a:t>
              </a:r>
              <a:r>
                <a:rPr lang="en-BR"/>
                <a:t>entorado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9E4843F-7068-64A4-4885-278808263D6C}"/>
              </a:ext>
            </a:extLst>
          </p:cNvPr>
          <p:cNvGrpSpPr/>
          <p:nvPr/>
        </p:nvGrpSpPr>
        <p:grpSpPr>
          <a:xfrm>
            <a:off x="2256176" y="3956963"/>
            <a:ext cx="914400" cy="1099066"/>
            <a:chOff x="1765962" y="1814267"/>
            <a:chExt cx="914400" cy="1099066"/>
          </a:xfrm>
        </p:grpSpPr>
        <p:pic>
          <p:nvPicPr>
            <p:cNvPr id="19" name="Graphic 18" descr="User with solid fill">
              <a:extLst>
                <a:ext uri="{FF2B5EF4-FFF2-40B4-BE49-F238E27FC236}">
                  <a16:creationId xmlns:a16="http://schemas.microsoft.com/office/drawing/2014/main" id="{B24D9A65-823A-93AD-A4B1-839ACFFBD7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765962" y="1814267"/>
              <a:ext cx="914400" cy="91440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5CB3694-9D5B-99D5-737C-7649567C6A49}"/>
                </a:ext>
              </a:extLst>
            </p:cNvPr>
            <p:cNvSpPr txBox="1"/>
            <p:nvPr/>
          </p:nvSpPr>
          <p:spPr>
            <a:xfrm>
              <a:off x="1782754" y="2544001"/>
              <a:ext cx="88081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/>
                <a:t>mentor</a:t>
              </a:r>
              <a:endParaRPr lang="en-BR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030C5E2-5E23-E7E8-DF9D-1C666B4B965E}"/>
              </a:ext>
            </a:extLst>
          </p:cNvPr>
          <p:cNvGrpSpPr/>
          <p:nvPr/>
        </p:nvGrpSpPr>
        <p:grpSpPr>
          <a:xfrm>
            <a:off x="3477620" y="3961125"/>
            <a:ext cx="1043042" cy="1099066"/>
            <a:chOff x="1701643" y="1814267"/>
            <a:chExt cx="1043042" cy="1099066"/>
          </a:xfrm>
        </p:grpSpPr>
        <p:pic>
          <p:nvPicPr>
            <p:cNvPr id="22" name="Graphic 21" descr="User with solid fill">
              <a:extLst>
                <a:ext uri="{FF2B5EF4-FFF2-40B4-BE49-F238E27FC236}">
                  <a16:creationId xmlns:a16="http://schemas.microsoft.com/office/drawing/2014/main" id="{355ECF5F-0858-DFC2-8926-4DD6C270E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765962" y="1814267"/>
              <a:ext cx="914400" cy="91440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B5F6A9E-8710-9B03-031C-C79935138F21}"/>
                </a:ext>
              </a:extLst>
            </p:cNvPr>
            <p:cNvSpPr txBox="1"/>
            <p:nvPr/>
          </p:nvSpPr>
          <p:spPr>
            <a:xfrm>
              <a:off x="1701643" y="2544001"/>
              <a:ext cx="10430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err="1"/>
                <a:t>avaliador</a:t>
              </a:r>
              <a:endParaRPr lang="en-BR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038B8C4-886A-50E2-0FCC-E8D2432E8939}"/>
              </a:ext>
            </a:extLst>
          </p:cNvPr>
          <p:cNvGrpSpPr/>
          <p:nvPr/>
        </p:nvGrpSpPr>
        <p:grpSpPr>
          <a:xfrm>
            <a:off x="5717989" y="2748401"/>
            <a:ext cx="2156691" cy="2369065"/>
            <a:chOff x="5717989" y="2748401"/>
            <a:chExt cx="2156691" cy="2369065"/>
          </a:xfrm>
        </p:grpSpPr>
        <p:pic>
          <p:nvPicPr>
            <p:cNvPr id="25" name="Graphic 24" descr="List outline">
              <a:extLst>
                <a:ext uri="{FF2B5EF4-FFF2-40B4-BE49-F238E27FC236}">
                  <a16:creationId xmlns:a16="http://schemas.microsoft.com/office/drawing/2014/main" id="{C20EDB2F-BB99-475D-471D-64EF1B4AC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717989" y="2960775"/>
              <a:ext cx="2156691" cy="2156691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E8BECA3-5B36-360C-7A60-B956A16D22E4}"/>
                </a:ext>
              </a:extLst>
            </p:cNvPr>
            <p:cNvSpPr txBox="1"/>
            <p:nvPr/>
          </p:nvSpPr>
          <p:spPr>
            <a:xfrm>
              <a:off x="6153046" y="2748401"/>
              <a:ext cx="12661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/>
                <a:t>assessment</a:t>
              </a:r>
              <a:endParaRPr lang="en-BR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0066BD5-424B-9CF4-CA83-C4AACE23CBBA}"/>
              </a:ext>
            </a:extLst>
          </p:cNvPr>
          <p:cNvGrpSpPr/>
          <p:nvPr/>
        </p:nvGrpSpPr>
        <p:grpSpPr>
          <a:xfrm>
            <a:off x="7809852" y="2747881"/>
            <a:ext cx="2477367" cy="2369585"/>
            <a:chOff x="7809852" y="2747881"/>
            <a:chExt cx="2477367" cy="2369585"/>
          </a:xfrm>
        </p:grpSpPr>
        <p:pic>
          <p:nvPicPr>
            <p:cNvPr id="31" name="Graphic 30" descr="Checklist outline">
              <a:extLst>
                <a:ext uri="{FF2B5EF4-FFF2-40B4-BE49-F238E27FC236}">
                  <a16:creationId xmlns:a16="http://schemas.microsoft.com/office/drawing/2014/main" id="{14236C50-ACEB-141D-EA97-978939A5AA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130528" y="2960775"/>
              <a:ext cx="2156691" cy="2156691"/>
            </a:xfrm>
            <a:prstGeom prst="rect">
              <a:avLst/>
            </a:prstGeom>
          </p:spPr>
        </p:pic>
        <p:sp>
          <p:nvSpPr>
            <p:cNvPr id="34" name="Right Arrow 33">
              <a:extLst>
                <a:ext uri="{FF2B5EF4-FFF2-40B4-BE49-F238E27FC236}">
                  <a16:creationId xmlns:a16="http://schemas.microsoft.com/office/drawing/2014/main" id="{6102B521-4D6A-50BE-1B3C-9F11AEC737C4}"/>
                </a:ext>
              </a:extLst>
            </p:cNvPr>
            <p:cNvSpPr/>
            <p:nvPr/>
          </p:nvSpPr>
          <p:spPr>
            <a:xfrm>
              <a:off x="7809852" y="3647180"/>
              <a:ext cx="442802" cy="484632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6CFA57F-6F72-C3F6-51F7-BCFFD5CE7F94}"/>
                </a:ext>
              </a:extLst>
            </p:cNvPr>
            <p:cNvSpPr txBox="1"/>
            <p:nvPr/>
          </p:nvSpPr>
          <p:spPr>
            <a:xfrm>
              <a:off x="8752739" y="2747881"/>
              <a:ext cx="8715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err="1"/>
                <a:t>kanban</a:t>
              </a:r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2953997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6">
            <a:extLst>
              <a:ext uri="{FF2B5EF4-FFF2-40B4-BE49-F238E27FC236}">
                <a16:creationId xmlns:a16="http://schemas.microsoft.com/office/drawing/2014/main" id="{2167BA52-72E2-9DD2-D06F-07478415D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7020992" y="5040496"/>
            <a:ext cx="1440909" cy="3429000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6902AF9C-2DA9-F579-59D5-09FBDB54E9AC}"/>
              </a:ext>
            </a:extLst>
          </p:cNvPr>
          <p:cNvSpPr txBox="1">
            <a:spLocks/>
          </p:cNvSpPr>
          <p:nvPr/>
        </p:nvSpPr>
        <p:spPr>
          <a:xfrm>
            <a:off x="662216" y="132425"/>
            <a:ext cx="5364730" cy="7646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E7441F"/>
                </a:solidFill>
                <a:effectLst/>
                <a:uLnTx/>
                <a:uFillTx/>
                <a:latin typeface="Barlow SemiBold" panose="00000700000000000000" pitchFamily="2" charset="0"/>
              </a:rPr>
              <a:t>Formato proposto</a:t>
            </a:r>
            <a:endParaRPr kumimoji="0" lang="pt-BR" sz="3600" b="0" u="none" strike="noStrike" kern="1200" cap="none" spc="0" normalizeH="0" baseline="0" noProof="0">
              <a:ln>
                <a:noFill/>
              </a:ln>
              <a:solidFill>
                <a:srgbClr val="E7441F"/>
              </a:solidFill>
              <a:effectLst/>
              <a:uLnTx/>
              <a:uFillTx/>
              <a:latin typeface="Barlow SemiBold" panose="00000700000000000000" pitchFamily="2" charset="0"/>
            </a:endParaRP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D66B082-0A37-BF67-7F01-BBC305593CB0}"/>
              </a:ext>
            </a:extLst>
          </p:cNvPr>
          <p:cNvSpPr txBox="1">
            <a:spLocks/>
          </p:cNvSpPr>
          <p:nvPr/>
        </p:nvSpPr>
        <p:spPr>
          <a:xfrm>
            <a:off x="562786" y="1262573"/>
            <a:ext cx="8035470" cy="3143172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144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716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en-U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−"/>
              <a:defRPr lang="pt-BR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Reuniões quinzenais de 1:1 mentor/</a:t>
            </a:r>
            <a:r>
              <a:rPr lang="pt-BR" sz="2000" b="0" i="0" dirty="0" err="1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mentorado</a:t>
            </a:r>
            <a:endParaRPr lang="pt-BR" sz="2000" b="0" i="0" dirty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dirty="0">
                <a:solidFill>
                  <a:srgbClr val="1E2023"/>
                </a:solidFill>
                <a:latin typeface="Barlow" panose="00000500000000000000" pitchFamily="2" charset="0"/>
              </a:rPr>
              <a:t>Reuniões com mentores</a:t>
            </a: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Reuniões com </a:t>
            </a:r>
            <a:r>
              <a:rPr lang="pt-BR" sz="2000" b="0" i="0" dirty="0" err="1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mentorados</a:t>
            </a:r>
            <a:endParaRPr lang="pt-BR" sz="2000" b="0" i="0" dirty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  <a:p>
            <a:pPr fontAlgn="base">
              <a:lnSpc>
                <a:spcPct val="110000"/>
              </a:lnSpc>
              <a:spcBef>
                <a:spcPts val="1800"/>
              </a:spcBef>
            </a:pPr>
            <a:r>
              <a:rPr lang="pt-BR" sz="2000" b="0" i="0" dirty="0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Avaliação da evolução do </a:t>
            </a:r>
            <a:r>
              <a:rPr lang="pt-BR" sz="2000" b="0" i="0" dirty="0" err="1">
                <a:solidFill>
                  <a:srgbClr val="1E2023"/>
                </a:solidFill>
                <a:effectLst/>
                <a:latin typeface="Barlow" panose="00000500000000000000" pitchFamily="2" charset="0"/>
              </a:rPr>
              <a:t>mentorado</a:t>
            </a:r>
            <a:endParaRPr lang="pt-BR" sz="2000" b="0" i="0" dirty="0">
              <a:solidFill>
                <a:srgbClr val="1E2023"/>
              </a:solidFill>
              <a:effectLst/>
              <a:latin typeface="Barlow" panose="00000500000000000000" pitchFamily="2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40A6260-6E4D-3C92-9686-64A99057DBDF}"/>
              </a:ext>
            </a:extLst>
          </p:cNvPr>
          <p:cNvGrpSpPr/>
          <p:nvPr/>
        </p:nvGrpSpPr>
        <p:grpSpPr>
          <a:xfrm>
            <a:off x="10409596" y="314036"/>
            <a:ext cx="1671568" cy="6543964"/>
            <a:chOff x="10104796" y="314036"/>
            <a:chExt cx="1671568" cy="6543964"/>
          </a:xfrm>
        </p:grpSpPr>
        <p:pic>
          <p:nvPicPr>
            <p:cNvPr id="11" name="Imagem 9">
              <a:extLst>
                <a:ext uri="{FF2B5EF4-FFF2-40B4-BE49-F238E27FC236}">
                  <a16:creationId xmlns:a16="http://schemas.microsoft.com/office/drawing/2014/main" id="{510D99D6-7AF9-C58E-5A25-AFE5921B1A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198674" y="405115"/>
              <a:ext cx="1430540" cy="6022426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B04CDB6-95B5-B1FF-3D3E-1109BFFEFFFF}"/>
                </a:ext>
              </a:extLst>
            </p:cNvPr>
            <p:cNvGrpSpPr/>
            <p:nvPr/>
          </p:nvGrpSpPr>
          <p:grpSpPr>
            <a:xfrm>
              <a:off x="10104796" y="514769"/>
              <a:ext cx="1596258" cy="5902888"/>
              <a:chOff x="10104796" y="514769"/>
              <a:chExt cx="1596258" cy="5902888"/>
            </a:xfrm>
          </p:grpSpPr>
          <p:pic>
            <p:nvPicPr>
              <p:cNvPr id="14" name="Imagem 15" descr="Ícone&#10;&#10;Descrição gerada automaticamente">
                <a:extLst>
                  <a:ext uri="{FF2B5EF4-FFF2-40B4-BE49-F238E27FC236}">
                    <a16:creationId xmlns:a16="http://schemas.microsoft.com/office/drawing/2014/main" id="{A58634C7-702F-E324-FA60-3618EE8249D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564"/>
              <a:stretch/>
            </p:blipFill>
            <p:spPr>
              <a:xfrm>
                <a:off x="10262812" y="514769"/>
                <a:ext cx="1366402" cy="1440911"/>
              </a:xfrm>
              <a:prstGeom prst="rect">
                <a:avLst/>
              </a:prstGeom>
            </p:spPr>
          </p:pic>
          <p:pic>
            <p:nvPicPr>
              <p:cNvPr id="15" name="Imagem 16" descr="Ícone&#10;&#10;Descrição gerada automaticamente">
                <a:extLst>
                  <a:ext uri="{FF2B5EF4-FFF2-40B4-BE49-F238E27FC236}">
                    <a16:creationId xmlns:a16="http://schemas.microsoft.com/office/drawing/2014/main" id="{960E64CA-A636-CA84-6D0F-5F96BEBF5F6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30" r="35140"/>
              <a:stretch/>
            </p:blipFill>
            <p:spPr>
              <a:xfrm>
                <a:off x="10104796" y="2728667"/>
                <a:ext cx="1596258" cy="1459771"/>
              </a:xfrm>
              <a:prstGeom prst="rect">
                <a:avLst/>
              </a:prstGeom>
            </p:spPr>
          </p:pic>
          <p:pic>
            <p:nvPicPr>
              <p:cNvPr id="19" name="Imagem 17" descr="Ícone&#10;&#10;Descrição gerada automaticamente">
                <a:extLst>
                  <a:ext uri="{FF2B5EF4-FFF2-40B4-BE49-F238E27FC236}">
                    <a16:creationId xmlns:a16="http://schemas.microsoft.com/office/drawing/2014/main" id="{1F99F45E-F916-C659-8E05-8CBF2729F2D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758"/>
              <a:stretch/>
            </p:blipFill>
            <p:spPr>
              <a:xfrm>
                <a:off x="10319656" y="5029200"/>
                <a:ext cx="1254865" cy="1388457"/>
              </a:xfrm>
              <a:prstGeom prst="rect">
                <a:avLst/>
              </a:prstGeom>
            </p:spPr>
          </p:pic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C31F145-2D0C-73EB-3020-58B4A351C55E}"/>
                </a:ext>
              </a:extLst>
            </p:cNvPr>
            <p:cNvSpPr/>
            <p:nvPr/>
          </p:nvSpPr>
          <p:spPr>
            <a:xfrm>
              <a:off x="10198674" y="314036"/>
              <a:ext cx="1577690" cy="6543964"/>
            </a:xfrm>
            <a:prstGeom prst="rect">
              <a:avLst/>
            </a:prstGeom>
            <a:solidFill>
              <a:schemeClr val="bg1">
                <a:alpha val="7815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</p:grpSp>
    </p:spTree>
    <p:extLst>
      <p:ext uri="{BB962C8B-B14F-4D97-AF65-F5344CB8AC3E}">
        <p14:creationId xmlns:p14="http://schemas.microsoft.com/office/powerpoint/2010/main" val="2945088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87</Words>
  <Application>Microsoft Macintosh PowerPoint</Application>
  <PresentationFormat>Widescreen</PresentationFormat>
  <Paragraphs>75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-apple-system</vt:lpstr>
      <vt:lpstr>Arial</vt:lpstr>
      <vt:lpstr>Barlow</vt:lpstr>
      <vt:lpstr>Barlow SemiBold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lipe Cunha</dc:creator>
  <cp:lastModifiedBy>Filipe Cunha</cp:lastModifiedBy>
  <cp:revision>1</cp:revision>
  <dcterms:created xsi:type="dcterms:W3CDTF">2022-11-03T16:53:54Z</dcterms:created>
  <dcterms:modified xsi:type="dcterms:W3CDTF">2022-11-03T16:55:27Z</dcterms:modified>
</cp:coreProperties>
</file>